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6/02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Febr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noProof="1"/>
              <a:t>Steigern Sie die Effizienz Ihrer Geräte und sichern Sie die Produktqualität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91418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Ofenwärmerückgewinnungssystem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Effizienz,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fr-FR" sz="800" kern="0" dirty="0">
                <a:solidFill>
                  <a:srgbClr val="000000"/>
                </a:solidFill>
              </a:rPr>
              <a:t>UNIVERSAL </a:t>
            </a:r>
            <a:r>
              <a:rPr lang="en-GB" altLang="fr-FR" sz="800" dirty="0">
                <a:solidFill>
                  <a:srgbClr val="000000"/>
                </a:solidFill>
              </a:rPr>
              <a:t>- </a:t>
            </a:r>
            <a:r>
              <a:rPr lang="en-GB" altLang="fr-FR" sz="800" dirty="0" err="1">
                <a:solidFill>
                  <a:srgbClr val="000000"/>
                </a:solidFill>
              </a:rPr>
              <a:t>Blasmaschinen</a:t>
            </a:r>
            <a:r>
              <a:rPr lang="fr-FR" sz="800" kern="0" dirty="0">
                <a:solidFill>
                  <a:srgbClr val="000000"/>
                </a:solidFill>
              </a:rPr>
              <a:t> 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103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233613"/>
            <a:ext cx="39624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Sichere Stabilität des Blasprozesses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dirty="0"/>
              <a:t>Vermeiden Sie Probleme mit der Flaschenqualität aufgrund von Schwankungen der Umgebungstemperatur</a:t>
            </a:r>
            <a:endParaRPr lang="en-GB" altLang="fr-FR" sz="1200" b="1" dirty="0"/>
          </a:p>
        </p:txBody>
      </p:sp>
      <p:pic>
        <p:nvPicPr>
          <p:cNvPr id="17" name="Image 8">
            <a:extLst>
              <a:ext uri="{FF2B5EF4-FFF2-40B4-BE49-F238E27FC236}">
                <a16:creationId xmlns:a16="http://schemas.microsoft.com/office/drawing/2014/main" id="{64543A71-BA04-44E5-97AF-1A543997B6A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169" y="3608106"/>
            <a:ext cx="2605812" cy="2097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15">
            <a:extLst>
              <a:ext uri="{FF2B5EF4-FFF2-40B4-BE49-F238E27FC236}">
                <a16:creationId xmlns:a16="http://schemas.microsoft.com/office/drawing/2014/main" id="{187A8EA3-33F8-41FE-B517-3DE96266B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810" y="2172551"/>
            <a:ext cx="3873500" cy="1658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>
              <a:spcBef>
                <a:spcPct val="45000"/>
              </a:spcBef>
              <a:buClr>
                <a:srgbClr val="FF0000"/>
              </a:buClr>
              <a:buSzPct val="100000"/>
              <a:defRPr/>
            </a:pPr>
            <a:r>
              <a:rPr lang="de-DE" sz="1100" dirty="0">
                <a:solidFill>
                  <a:srgbClr val="000000"/>
                </a:solidFill>
              </a:rPr>
              <a:t>Die Komponenten des Ofenwärmerückgewinnungssystems: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Neues Lufteinlassmodul (1, 2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in unteres Lüftungsmodul mit einem Lüfter (3, 4, 5)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Ein oberes Lüftungsmodul (6,7)</a:t>
            </a:r>
            <a:endParaRPr lang="fr-FR" sz="11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87</TotalTime>
  <Words>75</Words>
  <Application>Microsoft Office PowerPoint</Application>
  <PresentationFormat>On-screen Show (4:3)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NewSidel_Template_4x3_with add layouts</vt:lpstr>
      <vt:lpstr>think-cell Folie</vt:lpstr>
      <vt:lpstr>Steigern Sie die Effizienz Ihrer Geräte und sichern Sie die Produktqualität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6</cp:revision>
  <dcterms:created xsi:type="dcterms:W3CDTF">2018-02-10T17:04:39Z</dcterms:created>
  <dcterms:modified xsi:type="dcterms:W3CDTF">2021-02-16T12:1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